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304" r:id="rId3"/>
    <p:sldId id="297" r:id="rId4"/>
    <p:sldId id="305" r:id="rId5"/>
    <p:sldId id="287" r:id="rId6"/>
    <p:sldId id="306" r:id="rId7"/>
    <p:sldId id="307" r:id="rId8"/>
    <p:sldId id="294" r:id="rId9"/>
  </p:sldIdLst>
  <p:sldSz cx="9144000" cy="5143500" type="screen16x9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Николай Я. Коваль" initials="НЯК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94623C"/>
    <a:srgbClr val="B6784A"/>
    <a:srgbClr val="D18621"/>
    <a:srgbClr val="BF8961"/>
    <a:srgbClr val="D5B297"/>
    <a:srgbClr val="6E482C"/>
    <a:srgbClr val="C99B79"/>
    <a:srgbClr val="DCBEA8"/>
    <a:srgbClr val="C5936D"/>
    <a:srgbClr val="5F503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4994" autoAdjust="0"/>
    <p:restoredTop sz="74731" autoAdjust="0"/>
  </p:normalViewPr>
  <p:slideViewPr>
    <p:cSldViewPr>
      <p:cViewPr varScale="1">
        <p:scale>
          <a:sx n="108" d="100"/>
          <a:sy n="108" d="100"/>
        </p:scale>
        <p:origin x="-78" y="-690"/>
      </p:cViewPr>
      <p:guideLst>
        <p:guide orient="horz" pos="1620"/>
        <p:guide pos="288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327859-F617-4A9B-92EB-46DBCE646EC1}" type="datetimeFigureOut">
              <a:rPr lang="ru-RU" smtClean="0"/>
              <a:pPr/>
              <a:t>19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7A2EC2-B8EC-4DE4-B743-6EE3F05778E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74301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7A2EC2-B8EC-4DE4-B743-6EE3F05778E7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545781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Shape 394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95" name="Shape 395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xmlns="" val="2261733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Shape 394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95" name="Shape 395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xmlns="" val="22617333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Shape 394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95" name="Shape 395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xmlns="" val="2261733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1-Default Slide">
  <p:cSld name="01-Default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title"/>
          </p:nvPr>
        </p:nvSpPr>
        <p:spPr>
          <a:xfrm>
            <a:off x="480049" y="328812"/>
            <a:ext cx="7620967" cy="2970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50"/>
              <a:buFont typeface="Lato"/>
              <a:buNone/>
              <a:defRPr sz="2250" b="1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480048" y="670874"/>
            <a:ext cx="7620966" cy="124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81129583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02">
          <p15:clr>
            <a:srgbClr val="FBAE40"/>
          </p15:clr>
        </p15:guide>
        <p15:guide id="2" pos="5460">
          <p15:clr>
            <a:srgbClr val="FBAE40"/>
          </p15:clr>
        </p15:guide>
        <p15:guide id="3" orient="horz" pos="204">
          <p15:clr>
            <a:srgbClr val="FBAE40"/>
          </p15:clr>
        </p15:guide>
        <p15:guide id="4" pos="658">
          <p15:clr>
            <a:srgbClr val="FBAE40"/>
          </p15:clr>
        </p15:guide>
        <p15:guide id="5" pos="510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1.wdp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0" Type="http://schemas.openxmlformats.org/officeDocument/2006/relationships/image" Target="../media/image7.png"/><Relationship Id="rId4" Type="http://schemas.openxmlformats.org/officeDocument/2006/relationships/image" Target="../media/image2.png"/><Relationship Id="rId9" Type="http://schemas.microsoft.com/office/2007/relationships/hdphoto" Target="../media/hdphoto2.wdp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2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53"/>
          <p:cNvSpPr/>
          <p:nvPr/>
        </p:nvSpPr>
        <p:spPr>
          <a:xfrm>
            <a:off x="0" y="20538"/>
            <a:ext cx="9144000" cy="5143500"/>
          </a:xfrm>
          <a:prstGeom prst="rect">
            <a:avLst/>
          </a:prstGeom>
          <a:gradFill>
            <a:gsLst>
              <a:gs pos="0">
                <a:srgbClr val="9DA0A0"/>
              </a:gs>
              <a:gs pos="0">
                <a:schemeClr val="bg1">
                  <a:lumMod val="85000"/>
                </a:schemeClr>
              </a:gs>
              <a:gs pos="100000">
                <a:srgbClr val="E1E3E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Shape 58"/>
          <p:cNvSpPr txBox="1"/>
          <p:nvPr/>
        </p:nvSpPr>
        <p:spPr>
          <a:xfrm>
            <a:off x="1835696" y="246259"/>
            <a:ext cx="3528392" cy="648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cap="none" dirty="0">
                <a:solidFill>
                  <a:srgbClr val="BF8961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УПРАВЛЕНИЕ АЛТАЙСКОГО КРАЯ ПО РАЗВИТИЮ ПРЕДПРИНИМАТЕЛЬСТВА И РЫНОЧНОЙ ИНФРАСТРУКТУРЫ</a:t>
            </a:r>
            <a:endParaRPr sz="2800" dirty="0">
              <a:solidFill>
                <a:srgbClr val="BF89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73" descr="E:\картинки\200px-Coat_of_Arms_of_Altai_Krai.svg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3569" y="195487"/>
            <a:ext cx="792087" cy="749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hape 59"/>
          <p:cNvSpPr txBox="1"/>
          <p:nvPr/>
        </p:nvSpPr>
        <p:spPr>
          <a:xfrm>
            <a:off x="683568" y="4443958"/>
            <a:ext cx="7128792" cy="432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Aft>
                <a:spcPts val="600"/>
              </a:spcAft>
              <a:buNone/>
            </a:pPr>
            <a:r>
              <a:rPr lang="ru-RU" sz="1400" b="1" dirty="0">
                <a:solidFill>
                  <a:srgbClr val="BF8961"/>
                </a:solidFill>
                <a:latin typeface="Arial" panose="020B0604020202020204" pitchFamily="34" charset="0"/>
                <a:cs typeface="Arial" panose="020B0604020202020204" pitchFamily="34" charset="0"/>
                <a:sym typeface="Lato"/>
              </a:rPr>
              <a:t>начальник отдела развития сферы малого и среднего предпринимательства</a:t>
            </a:r>
            <a:endParaRPr sz="1400" dirty="0">
              <a:solidFill>
                <a:srgbClr val="BF89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rtl="0">
              <a:spcAft>
                <a:spcPts val="0"/>
              </a:spcAft>
              <a:buNone/>
            </a:pPr>
            <a:r>
              <a:rPr lang="ru-RU" b="1" cap="none" dirty="0">
                <a:solidFill>
                  <a:srgbClr val="6E482C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АБДУЛАЕВА ЕЛЕНА ЮРЬЕВНА</a:t>
            </a:r>
            <a:endParaRPr sz="3200" dirty="0">
              <a:solidFill>
                <a:srgbClr val="6E48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54"/>
          <p:cNvSpPr txBox="1"/>
          <p:nvPr/>
        </p:nvSpPr>
        <p:spPr>
          <a:xfrm>
            <a:off x="596391" y="1599642"/>
            <a:ext cx="8193650" cy="972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ru-RU"/>
            </a:defPPr>
            <a:lvl1pPr lvl="0">
              <a:defRPr sz="3200" b="1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ts val="3000"/>
              </a:lnSpc>
            </a:pPr>
            <a:r>
              <a:rPr lang="ru-RU" sz="2400" dirty="0"/>
              <a:t>Механизмы государственной финансовой поддержки субъектов малого и среднего предпринимательства, реализуемые управлением Алтайского края по развитию предпринимательства и рыночной инфраструктуры</a:t>
            </a:r>
            <a:endParaRPr sz="2800" dirty="0">
              <a:sym typeface="Lato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36296" y="175192"/>
            <a:ext cx="1640922" cy="73963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491880" y="3291830"/>
            <a:ext cx="5298161" cy="1044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r"/>
            <a:endParaRPr lang="ru-RU" sz="1600" dirty="0"/>
          </a:p>
          <a:p>
            <a:pPr algn="r"/>
            <a:endParaRPr lang="ru-RU" sz="1600" dirty="0"/>
          </a:p>
          <a:p>
            <a:pPr algn="r"/>
            <a:endParaRPr lang="ru-RU" sz="1600" dirty="0"/>
          </a:p>
          <a:p>
            <a:pPr algn="r"/>
            <a:r>
              <a:rPr lang="ru-RU" sz="1600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Барнаул,  18 августа 2020 года</a:t>
            </a:r>
            <a:endParaRPr lang="ru-RU" sz="1600" b="1" i="1" dirty="0">
              <a:solidFill>
                <a:srgbClr val="6E48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4495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Гранты 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на реализацию проектов в приоритетных сферах экономики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200655" y="1004640"/>
            <a:ext cx="33699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B678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400" dirty="0">
                <a:solidFill>
                  <a:srgbClr val="6E482C"/>
                </a:solidFill>
              </a:rPr>
              <a:t>Развитие предприятий общественного питания и придорожного сервиса в сельских территориях и малых городах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364088" y="1438089"/>
            <a:ext cx="26489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отка сельско-хозяйственной продукци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187624" y="2588095"/>
            <a:ext cx="31641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и производство строительных материалов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188488" y="2018154"/>
            <a:ext cx="32763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устрия детских товаров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383791" y="2171385"/>
            <a:ext cx="32763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скохозяйственная кооперация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432382" y="3008903"/>
            <a:ext cx="26155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есленное мастерство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268163" y="3331054"/>
            <a:ext cx="24122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ая торговля на селе</a:t>
            </a:r>
          </a:p>
        </p:txBody>
      </p:sp>
      <p:pic>
        <p:nvPicPr>
          <p:cNvPr id="1026" name="Picture 2" descr="C:\Users\Дешевых\Downloads\directional-sign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7094" y="1246735"/>
            <a:ext cx="500421" cy="500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pic>
        <p:nvPicPr>
          <p:cNvPr id="1027" name="Picture 3" descr="C:\Users\Дешевых\Downloads\product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43297" y="1427972"/>
            <a:ext cx="575489" cy="575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Дешевых\Downloads\hook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7544" y="2567169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Дешевых\Downloads\baby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0301" y="1852652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Дешевых\Downloads\team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56131" y="2171385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Дешевых\Downloads\pottery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04289" y="2864980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Дешевых\Downloads\1972247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7094" y="3331054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Дешевых\Downloads\houses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308" y="4083918"/>
            <a:ext cx="689992" cy="689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5433250" y="3532321"/>
            <a:ext cx="33498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транспортного обслуживания в сельских территориях и малых городах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235976" y="4059976"/>
            <a:ext cx="35520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телекоммуникационной инфраструктуры в сельских территориях и малых городах</a:t>
            </a:r>
          </a:p>
        </p:txBody>
      </p:sp>
      <p:pic>
        <p:nvPicPr>
          <p:cNvPr id="1035" name="Picture 11" descr="C:\Users\Дешевых\Downloads\car-door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04289" y="3532321"/>
            <a:ext cx="643905" cy="643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450301" y="883678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6311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/>
        </p:nvGrpSpPr>
        <p:grpSpPr>
          <a:xfrm>
            <a:off x="508219" y="1144000"/>
            <a:ext cx="6241410" cy="3497236"/>
            <a:chOff x="-79687" y="1442151"/>
            <a:chExt cx="6096245" cy="3849632"/>
          </a:xfrm>
          <a:solidFill>
            <a:srgbClr val="DCBEA8">
              <a:alpha val="21000"/>
            </a:srgbClr>
          </a:solidFill>
        </p:grpSpPr>
        <p:grpSp>
          <p:nvGrpSpPr>
            <p:cNvPr id="31" name="Группа 30"/>
            <p:cNvGrpSpPr/>
            <p:nvPr/>
          </p:nvGrpSpPr>
          <p:grpSpPr>
            <a:xfrm>
              <a:off x="-79687" y="1442151"/>
              <a:ext cx="6096245" cy="3849632"/>
              <a:chOff x="-175457" y="2042505"/>
              <a:chExt cx="6096245" cy="3849632"/>
            </a:xfrm>
            <a:grpFill/>
          </p:grpSpPr>
          <p:sp>
            <p:nvSpPr>
              <p:cNvPr id="34" name="Скругленный прямоугольник 33"/>
              <p:cNvSpPr/>
              <p:nvPr/>
            </p:nvSpPr>
            <p:spPr>
              <a:xfrm>
                <a:off x="-175457" y="2042505"/>
                <a:ext cx="6096245" cy="3849632"/>
              </a:xfrm>
              <a:prstGeom prst="roundRect">
                <a:avLst>
                  <a:gd name="adj" fmla="val 2995"/>
                </a:avLst>
              </a:prstGeom>
              <a:solidFill>
                <a:srgbClr val="DCBEA8">
                  <a:alpha val="34000"/>
                </a:srgb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"/>
                  <a:ea typeface="+mn-ea"/>
                  <a:cs typeface="+mn-cs"/>
                </a:endParaRPr>
              </a:p>
            </p:txBody>
          </p:sp>
          <p:sp>
            <p:nvSpPr>
              <p:cNvPr id="35" name="Прямоугольник 34"/>
              <p:cNvSpPr/>
              <p:nvPr/>
            </p:nvSpPr>
            <p:spPr>
              <a:xfrm>
                <a:off x="-103565" y="3301718"/>
                <a:ext cx="1344860" cy="58168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tIns="0" rtlCol="0" anchor="t"/>
              <a:lstStyle/>
              <a:p>
                <a:pPr marL="0" marR="0" lvl="0" indent="0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noProof="0" dirty="0">
                    <a:ln>
                      <a:noFill/>
                    </a:ln>
                    <a:solidFill>
                      <a:srgbClr val="6E482C"/>
                    </a:solidFill>
                    <a:effectLst/>
                    <a:uLnTx/>
                    <a:uFillTx/>
                    <a:latin typeface="Cambria"/>
                  </a:rPr>
                  <a:t>Количество наемных работников</a:t>
                </a:r>
              </a:p>
            </p:txBody>
          </p:sp>
          <p:sp>
            <p:nvSpPr>
              <p:cNvPr id="36" name="Прямоугольник 35"/>
              <p:cNvSpPr/>
              <p:nvPr/>
            </p:nvSpPr>
            <p:spPr>
              <a:xfrm>
                <a:off x="2018233" y="3391226"/>
                <a:ext cx="3024336" cy="40267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не менее </a:t>
                </a: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 </a:t>
                </a:r>
                <a:r>
                  <a:rPr lang="ru-RU" sz="2000" b="1" kern="0" dirty="0">
                    <a:solidFill>
                      <a:srgbClr val="C00000"/>
                    </a:solidFill>
                    <a:latin typeface="Cambria"/>
                  </a:rPr>
                  <a:t>2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 человек </a:t>
                </a:r>
              </a:p>
            </p:txBody>
          </p:sp>
          <p:sp>
            <p:nvSpPr>
              <p:cNvPr id="37" name="Прямоугольник 36"/>
              <p:cNvSpPr/>
              <p:nvPr/>
            </p:nvSpPr>
            <p:spPr>
              <a:xfrm>
                <a:off x="-74519" y="2431624"/>
                <a:ext cx="1485574" cy="61366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tIns="0" rtlCol="0" anchor="t"/>
              <a:lstStyle/>
              <a:p>
                <a:pPr marL="0" marR="0" lvl="0" indent="0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noProof="0" dirty="0">
                    <a:ln>
                      <a:noFill/>
                    </a:ln>
                    <a:solidFill>
                      <a:srgbClr val="6E482C"/>
                    </a:solidFill>
                    <a:effectLst/>
                    <a:uLnTx/>
                    <a:uFillTx/>
                    <a:latin typeface="Cambria"/>
                  </a:rPr>
                  <a:t>Срок регистрации</a:t>
                </a:r>
              </a:p>
            </p:txBody>
          </p:sp>
          <p:sp>
            <p:nvSpPr>
              <p:cNvPr id="38" name="Прямоугольник 37"/>
              <p:cNvSpPr/>
              <p:nvPr/>
            </p:nvSpPr>
            <p:spPr>
              <a:xfrm>
                <a:off x="-126856" y="4307760"/>
                <a:ext cx="1368151" cy="427932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tIns="0" rtlCol="0" anchor="t"/>
              <a:lstStyle/>
              <a:p>
                <a:pPr marL="0" marR="0" lvl="0" indent="0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noProof="0" dirty="0">
                    <a:ln>
                      <a:noFill/>
                    </a:ln>
                    <a:solidFill>
                      <a:srgbClr val="6E482C"/>
                    </a:solidFill>
                    <a:effectLst/>
                    <a:uLnTx/>
                    <a:uFillTx/>
                    <a:latin typeface="Cambria"/>
                  </a:rPr>
                  <a:t>Заработная плата</a:t>
                </a:r>
              </a:p>
            </p:txBody>
          </p:sp>
          <p:sp>
            <p:nvSpPr>
              <p:cNvPr id="39" name="Прямоугольник 38"/>
              <p:cNvSpPr/>
              <p:nvPr/>
            </p:nvSpPr>
            <p:spPr>
              <a:xfrm>
                <a:off x="1091854" y="3676161"/>
                <a:ext cx="2656369" cy="80312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cxnSp>
            <p:nvCxnSpPr>
              <p:cNvPr id="40" name="Прямая соединительная линия 39"/>
              <p:cNvCxnSpPr/>
              <p:nvPr/>
            </p:nvCxnSpPr>
            <p:spPr>
              <a:xfrm>
                <a:off x="1472811" y="2244261"/>
                <a:ext cx="0" cy="3446122"/>
              </a:xfrm>
              <a:prstGeom prst="line">
                <a:avLst/>
              </a:prstGeom>
              <a:grpFill/>
              <a:ln>
                <a:solidFill>
                  <a:srgbClr val="6E482C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1" name="Прямоугольник 40"/>
              <p:cNvSpPr/>
              <p:nvPr/>
            </p:nvSpPr>
            <p:spPr>
              <a:xfrm>
                <a:off x="2003861" y="2425681"/>
                <a:ext cx="3030091" cy="57606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более</a:t>
                </a: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 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18 месяцев </a:t>
                </a:r>
              </a:p>
              <a:p>
                <a:pPr marL="0" marR="0" lvl="0" indent="0" algn="ctr" defTabSz="91437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mbria"/>
                  </a:rPr>
                  <a:t>(1,5 года) </a:t>
                </a:r>
                <a:endPara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-42154" y="4535406"/>
              <a:ext cx="1487056" cy="40267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Сумма </a:t>
              </a:r>
              <a:r>
                <a:rPr lang="ru-RU" sz="1600" b="1" kern="0" dirty="0">
                  <a:solidFill>
                    <a:srgbClr val="6E482C"/>
                  </a:solidFill>
                  <a:latin typeface="Cambria"/>
                </a:rPr>
                <a:t>гранта</a:t>
              </a: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6E482C"/>
                </a:solidFill>
                <a:effectLst/>
                <a:uLnTx/>
                <a:uFillTx/>
                <a:latin typeface="Cambria"/>
              </a:endParaRPr>
            </a:p>
          </p:txBody>
        </p:sp>
      </p:grpSp>
      <p:sp>
        <p:nvSpPr>
          <p:cNvPr id="42" name="Прямоугольник 41"/>
          <p:cNvSpPr/>
          <p:nvPr/>
        </p:nvSpPr>
        <p:spPr>
          <a:xfrm>
            <a:off x="2754145" y="3182034"/>
            <a:ext cx="302433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3">
              <a:defRPr/>
            </a:pPr>
            <a:r>
              <a:rPr lang="ru-RU" sz="1600" kern="0" dirty="0">
                <a:solidFill>
                  <a:srgbClr val="C00000"/>
                </a:solidFill>
                <a:latin typeface="Cambria"/>
              </a:rPr>
              <a:t>не менее </a:t>
            </a:r>
            <a:r>
              <a:rPr lang="ru-RU" sz="1600" b="1" kern="0" dirty="0">
                <a:solidFill>
                  <a:srgbClr val="C00000"/>
                </a:solidFill>
                <a:latin typeface="Cambria"/>
              </a:rPr>
              <a:t> </a:t>
            </a:r>
            <a:r>
              <a:rPr lang="ru-RU" sz="2000" b="1" kern="0" dirty="0">
                <a:solidFill>
                  <a:srgbClr val="C00000"/>
                </a:solidFill>
                <a:latin typeface="Cambria"/>
              </a:rPr>
              <a:t>12 000 рублей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6732240" y="1419622"/>
            <a:ext cx="23319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конкурсного отбора</a:t>
            </a:r>
          </a:p>
        </p:txBody>
      </p:sp>
      <p:pic>
        <p:nvPicPr>
          <p:cNvPr id="23" name="Picture 2" descr="C:\Users\Дешевых\Downloads\hired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94912" y="3178438"/>
            <a:ext cx="1553552" cy="155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6876254" y="2211710"/>
            <a:ext cx="2088234" cy="6809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предварительно</a:t>
            </a:r>
          </a:p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в 4 квартале </a:t>
            </a:r>
          </a:p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20 года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739430" y="3830463"/>
            <a:ext cx="34167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3">
              <a:defRPr/>
            </a:pPr>
            <a:r>
              <a:rPr lang="ru-RU" sz="1600" kern="0" dirty="0">
                <a:solidFill>
                  <a:srgbClr val="C00000"/>
                </a:solidFill>
                <a:latin typeface="Cambria"/>
              </a:rPr>
              <a:t>не более </a:t>
            </a:r>
            <a:r>
              <a:rPr lang="ru-RU" sz="2000" b="1" kern="0" dirty="0">
                <a:solidFill>
                  <a:srgbClr val="C00000"/>
                </a:solidFill>
                <a:latin typeface="Cambria"/>
              </a:rPr>
              <a:t>2 000 000 рублей</a:t>
            </a:r>
          </a:p>
        </p:txBody>
      </p:sp>
      <p:sp>
        <p:nvSpPr>
          <p:cNvPr id="26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Гранты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реализацию проектов в приоритетных сферах экономик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51838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Субсидии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поддержку </a:t>
            </a:r>
            <a:br>
              <a:rPr lang="ru-RU" sz="2800" b="1" dirty="0">
                <a:solidFill>
                  <a:schemeClr val="tx2"/>
                </a:solidFill>
                <a:latin typeface="Arial"/>
              </a:rPr>
            </a:br>
            <a:r>
              <a:rPr lang="ru-RU" sz="2800" b="1" dirty="0">
                <a:solidFill>
                  <a:schemeClr val="tx2"/>
                </a:solidFill>
                <a:latin typeface="Arial"/>
              </a:rPr>
              <a:t>бизнес-инициатив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233161" y="1503167"/>
            <a:ext cx="3259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B678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>
                <a:solidFill>
                  <a:srgbClr val="6E482C"/>
                </a:solidFill>
              </a:rPr>
              <a:t>Приобретение оборудования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433589" y="1712141"/>
            <a:ext cx="31323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а процентов по кредитам на реализацию инвестиционных  проект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03768" y="2277823"/>
            <a:ext cx="3080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а первоначального взноса по договору лизинга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260049" y="3210536"/>
            <a:ext cx="32763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нематериальных активов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5470638" y="2729329"/>
            <a:ext cx="26297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ое присоединение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электрическим сетям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pic>
        <p:nvPicPr>
          <p:cNvPr id="1027" name="Picture 3" descr="C:\Users\Дешевых\Downloads\product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609" y="3219822"/>
            <a:ext cx="575489" cy="575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Дешевых\Downloads\hook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24307" y="1853196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/>
          <p:cNvSpPr/>
          <p:nvPr/>
        </p:nvSpPr>
        <p:spPr>
          <a:xfrm>
            <a:off x="733717" y="4383113"/>
            <a:ext cx="7820584" cy="3313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нсируются затраты, произведенные в текущем и предыдущем годах</a:t>
            </a: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H="1">
            <a:off x="1475658" y="3939902"/>
            <a:ext cx="6336702" cy="0"/>
          </a:xfrm>
          <a:prstGeom prst="line">
            <a:avLst/>
          </a:prstGeom>
          <a:solidFill>
            <a:srgbClr val="DCBEA8">
              <a:alpha val="21000"/>
            </a:srgbClr>
          </a:solidFill>
          <a:ln>
            <a:solidFill>
              <a:srgbClr val="6E482C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50" name="Picture 2" descr="C:\Berda\job\icons8-робот-50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6848" y="1474016"/>
            <a:ext cx="47625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Berda\job\icons8-конфликт-50.png"/>
          <p:cNvPicPr>
            <a:picLocks noChangeAspect="1" noChangeArrowheads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24307" y="2862598"/>
            <a:ext cx="574778" cy="57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2" name="Picture 4" descr="C:\Berda\job\icons8-отмеченный-грузовик-80.png"/>
          <p:cNvPicPr>
            <a:picLocks noChangeAspect="1" noChangeArrowheads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3973" y="2277823"/>
            <a:ext cx="671848" cy="6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96721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979713" y="2787774"/>
            <a:ext cx="4618188" cy="2444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just" defTabSz="914373">
              <a:spcAft>
                <a:spcPts val="600"/>
              </a:spcAft>
              <a:defRPr/>
            </a:pPr>
            <a:endParaRPr lang="ru-RU" sz="12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051720" y="-92546"/>
            <a:ext cx="4411535" cy="2444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373">
              <a:spcAft>
                <a:spcPts val="600"/>
              </a:spcAft>
              <a:defRPr/>
            </a:pPr>
            <a:endParaRPr lang="ru-RU" sz="14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sp>
        <p:nvSpPr>
          <p:cNvPr id="32" name="Прямоугольник 31"/>
          <p:cNvSpPr/>
          <p:nvPr/>
        </p:nvSpPr>
        <p:spPr>
          <a:xfrm>
            <a:off x="6743229" y="1120990"/>
            <a:ext cx="23319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конкурсного отбора</a:t>
            </a:r>
          </a:p>
        </p:txBody>
      </p:sp>
      <p:pic>
        <p:nvPicPr>
          <p:cNvPr id="5122" name="Picture 2" descr="C:\Users\Дешевых\Downloads\hired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94912" y="3178438"/>
            <a:ext cx="1553552" cy="155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Прямоугольник 48"/>
          <p:cNvSpPr/>
          <p:nvPr/>
        </p:nvSpPr>
        <p:spPr>
          <a:xfrm>
            <a:off x="6749629" y="2066111"/>
            <a:ext cx="2331942" cy="6809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Предварительно             в 4 квартале </a:t>
            </a:r>
          </a:p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20 года</a:t>
            </a:r>
          </a:p>
        </p:txBody>
      </p:sp>
      <p:sp>
        <p:nvSpPr>
          <p:cNvPr id="31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Субсидии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поддержку </a:t>
            </a:r>
            <a:br>
              <a:rPr lang="ru-RU" sz="2800" b="1" dirty="0">
                <a:solidFill>
                  <a:schemeClr val="tx2"/>
                </a:solidFill>
                <a:latin typeface="Arial"/>
              </a:rPr>
            </a:br>
            <a:r>
              <a:rPr lang="ru-RU" sz="2800" b="1" dirty="0">
                <a:solidFill>
                  <a:schemeClr val="tx2"/>
                </a:solidFill>
                <a:latin typeface="Arial"/>
              </a:rPr>
              <a:t>бизнес-инициатив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508219" y="1260999"/>
            <a:ext cx="6241410" cy="3313950"/>
            <a:chOff x="-175457" y="2042505"/>
            <a:chExt cx="6096245" cy="3647877"/>
          </a:xfrm>
          <a:solidFill>
            <a:srgbClr val="DCBEA8">
              <a:alpha val="21000"/>
            </a:srgbClr>
          </a:solidFill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-175457" y="2042505"/>
              <a:ext cx="6096245" cy="3647877"/>
            </a:xfrm>
            <a:prstGeom prst="roundRect">
              <a:avLst>
                <a:gd name="adj" fmla="val 2995"/>
              </a:avLst>
            </a:prstGeom>
            <a:solidFill>
              <a:srgbClr val="DCBEA8">
                <a:alpha val="34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/>
                <a:ea typeface="+mn-ea"/>
                <a:cs typeface="+mn-cs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-83047" y="3496458"/>
              <a:ext cx="1344860" cy="58168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Количество наемных работников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1939271" y="3736143"/>
              <a:ext cx="3024336" cy="40267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не менее </a:t>
              </a: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</a:t>
              </a:r>
              <a:r>
                <a:rPr lang="ru-RU" sz="2000" b="1" kern="0" dirty="0">
                  <a:solidFill>
                    <a:srgbClr val="C00000"/>
                  </a:solidFill>
                  <a:latin typeface="Cambria"/>
                </a:rPr>
                <a:t>10</a:t>
              </a: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человек </a:t>
              </a: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-83047" y="2621913"/>
              <a:ext cx="1485574" cy="61366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Срок регистрации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-94693" y="4642340"/>
              <a:ext cx="1368151" cy="42793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Заработная плата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091854" y="3676161"/>
              <a:ext cx="2656369" cy="80312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mbria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>
            <a:xfrm>
              <a:off x="1613478" y="2385675"/>
              <a:ext cx="0" cy="3113664"/>
            </a:xfrm>
            <a:prstGeom prst="line">
              <a:avLst/>
            </a:prstGeom>
            <a:grpFill/>
            <a:ln>
              <a:solidFill>
                <a:srgbClr val="6E482C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3" name="Прямоугольник 42"/>
            <p:cNvSpPr/>
            <p:nvPr/>
          </p:nvSpPr>
          <p:spPr>
            <a:xfrm>
              <a:off x="1942136" y="2640711"/>
              <a:ext cx="3030091" cy="5760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более</a:t>
              </a: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</a:t>
              </a: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24 месяцев </a:t>
              </a:r>
            </a:p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(2 года) </a:t>
              </a:r>
              <a:endPara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mbria"/>
              </a:endParaRPr>
            </a:p>
          </p:txBody>
        </p:sp>
      </p:grpSp>
      <p:sp>
        <p:nvSpPr>
          <p:cNvPr id="44" name="Прямоугольник 43"/>
          <p:cNvSpPr/>
          <p:nvPr/>
        </p:nvSpPr>
        <p:spPr>
          <a:xfrm>
            <a:off x="2745319" y="3608934"/>
            <a:ext cx="302433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3">
              <a:defRPr/>
            </a:pPr>
            <a:r>
              <a:rPr lang="ru-RU" sz="1600" kern="0" dirty="0">
                <a:solidFill>
                  <a:srgbClr val="C00000"/>
                </a:solidFill>
                <a:latin typeface="Cambria"/>
              </a:rPr>
              <a:t>не менее </a:t>
            </a:r>
            <a:r>
              <a:rPr lang="ru-RU" sz="1600" b="1" kern="0" dirty="0">
                <a:solidFill>
                  <a:srgbClr val="C00000"/>
                </a:solidFill>
                <a:latin typeface="Cambria"/>
              </a:rPr>
              <a:t> </a:t>
            </a:r>
            <a:r>
              <a:rPr lang="ru-RU" sz="2000" b="1" kern="0" dirty="0">
                <a:solidFill>
                  <a:srgbClr val="C00000"/>
                </a:solidFill>
                <a:latin typeface="Cambria"/>
              </a:rPr>
              <a:t>15 000 рублей</a:t>
            </a:r>
          </a:p>
        </p:txBody>
      </p:sp>
    </p:spTree>
    <p:extLst>
      <p:ext uri="{BB962C8B-B14F-4D97-AF65-F5344CB8AC3E}">
        <p14:creationId xmlns:p14="http://schemas.microsoft.com/office/powerpoint/2010/main" xmlns="" val="5605807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Субсидии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оборудование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235741" y="1419753"/>
            <a:ext cx="32596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B678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>
                <a:solidFill>
                  <a:srgbClr val="6E482C"/>
                </a:solidFill>
              </a:rPr>
              <a:t>Приобретенное оборудова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03768" y="2277823"/>
            <a:ext cx="3080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а первоначального взноса по договору лизинга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sp>
        <p:nvSpPr>
          <p:cNvPr id="43" name="Прямоугольник 42"/>
          <p:cNvSpPr/>
          <p:nvPr/>
        </p:nvSpPr>
        <p:spPr>
          <a:xfrm>
            <a:off x="733717" y="4383113"/>
            <a:ext cx="7820584" cy="3313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2000"/>
              </a:lnSpc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нсируются затраты, произведенные в текущем и предыдущем годах</a:t>
            </a: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H="1">
            <a:off x="1475658" y="3939902"/>
            <a:ext cx="6336702" cy="0"/>
          </a:xfrm>
          <a:prstGeom prst="line">
            <a:avLst/>
          </a:prstGeom>
          <a:solidFill>
            <a:srgbClr val="DCBEA8">
              <a:alpha val="21000"/>
            </a:srgbClr>
          </a:solidFill>
          <a:ln>
            <a:solidFill>
              <a:srgbClr val="6E482C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50" name="Picture 2" descr="C:\Berda\job\icons8-робот-50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6848" y="1474016"/>
            <a:ext cx="47625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2" name="Picture 4" descr="C:\Berda\job\icons8-отмеченный-грузовик-80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3973" y="2277823"/>
            <a:ext cx="671848" cy="6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C:\Berda\job\icons8-отмеченный-грузовик-80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56131" y="1376217"/>
            <a:ext cx="671848" cy="6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5652120" y="1296642"/>
            <a:ext cx="3080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3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а лизинговых платежей по договорам лизинга</a:t>
            </a:r>
          </a:p>
        </p:txBody>
      </p:sp>
    </p:spTree>
    <p:extLst>
      <p:ext uri="{BB962C8B-B14F-4D97-AF65-F5344CB8AC3E}">
        <p14:creationId xmlns:p14="http://schemas.microsoft.com/office/powerpoint/2010/main" xmlns="" val="41819502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50301" y="963340"/>
            <a:ext cx="1355406" cy="54006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979713" y="2787774"/>
            <a:ext cx="4618188" cy="2444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just" defTabSz="914373">
              <a:spcAft>
                <a:spcPts val="600"/>
              </a:spcAft>
              <a:defRPr/>
            </a:pPr>
            <a:endParaRPr lang="ru-RU" sz="12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051720" y="-92546"/>
            <a:ext cx="4411535" cy="2444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373">
              <a:spcAft>
                <a:spcPts val="600"/>
              </a:spcAft>
              <a:defRPr/>
            </a:pPr>
            <a:endParaRPr lang="ru-RU" sz="14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  <p:pic>
        <p:nvPicPr>
          <p:cNvPr id="5122" name="Picture 2" descr="C:\Users\Дешевых\Downloads\hired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94912" y="3178438"/>
            <a:ext cx="1553552" cy="155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Прямоугольник 48"/>
          <p:cNvSpPr/>
          <p:nvPr/>
        </p:nvSpPr>
        <p:spPr>
          <a:xfrm>
            <a:off x="6749629" y="2066111"/>
            <a:ext cx="2331942" cy="6809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Предварительно             в 4 квартале </a:t>
            </a:r>
          </a:p>
          <a:p>
            <a:pPr marL="0" marR="0" lvl="0" indent="0" algn="ctr" defTabSz="9143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20 года</a:t>
            </a:r>
          </a:p>
        </p:txBody>
      </p:sp>
      <p:sp>
        <p:nvSpPr>
          <p:cNvPr id="31" name="Shape 289"/>
          <p:cNvSpPr txBox="1">
            <a:spLocks/>
          </p:cNvSpPr>
          <p:nvPr/>
        </p:nvSpPr>
        <p:spPr>
          <a:xfrm>
            <a:off x="449916" y="98996"/>
            <a:ext cx="8412430" cy="118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buClr>
                <a:srgbClr val="283032"/>
              </a:buClr>
              <a:buSzPts val="2250"/>
            </a:pPr>
            <a:r>
              <a:rPr lang="ru-RU" sz="2800" b="1" dirty="0">
                <a:solidFill>
                  <a:srgbClr val="D18621"/>
                </a:solidFill>
                <a:latin typeface="Arial"/>
              </a:rPr>
              <a:t>Субсидии</a:t>
            </a:r>
            <a:r>
              <a:rPr lang="ru-RU" sz="2800" b="1" dirty="0">
                <a:solidFill>
                  <a:schemeClr val="tx2"/>
                </a:solidFill>
                <a:latin typeface="Arial"/>
              </a:rPr>
              <a:t> на оборудование </a:t>
            </a:r>
            <a:br>
              <a:rPr lang="ru-RU" sz="2800" b="1" dirty="0">
                <a:solidFill>
                  <a:schemeClr val="tx2"/>
                </a:solidFill>
                <a:latin typeface="Arial"/>
              </a:rPr>
            </a:br>
            <a:endParaRPr lang="ru-RU" sz="2800" b="1" dirty="0">
              <a:solidFill>
                <a:schemeClr val="tx2"/>
              </a:solidFill>
              <a:latin typeface="Arial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508219" y="1260999"/>
            <a:ext cx="6241410" cy="3313950"/>
            <a:chOff x="-175457" y="2042505"/>
            <a:chExt cx="6096245" cy="3647877"/>
          </a:xfrm>
          <a:solidFill>
            <a:srgbClr val="DCBEA8">
              <a:alpha val="21000"/>
            </a:srgbClr>
          </a:solidFill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-175457" y="2042505"/>
              <a:ext cx="6096245" cy="3647877"/>
            </a:xfrm>
            <a:prstGeom prst="roundRect">
              <a:avLst>
                <a:gd name="adj" fmla="val 2995"/>
              </a:avLst>
            </a:prstGeom>
            <a:solidFill>
              <a:srgbClr val="DCBEA8">
                <a:alpha val="34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/>
                <a:ea typeface="+mn-ea"/>
                <a:cs typeface="+mn-cs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-71402" y="3500372"/>
              <a:ext cx="1344860" cy="58168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Количество наемных работников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1839923" y="3877844"/>
              <a:ext cx="3816597" cy="40267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5 и более человек; </a:t>
              </a:r>
            </a:p>
            <a:p>
              <a:pPr algn="ctr" defTabSz="914373">
                <a:defRPr/>
              </a:pPr>
              <a:r>
                <a:rPr lang="ru-RU" sz="1600" b="1" kern="0" dirty="0">
                  <a:solidFill>
                    <a:srgbClr val="C00000"/>
                  </a:solidFill>
                  <a:latin typeface="Cambria"/>
                </a:rPr>
                <a:t>2 и более человек для субъектом монопрофильных муниципальных образований</a:t>
              </a:r>
            </a:p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000" b="1" kern="0" dirty="0">
                  <a:solidFill>
                    <a:srgbClr val="C00000"/>
                  </a:solidFill>
                  <a:latin typeface="Cambria"/>
                </a:rPr>
                <a:t> </a:t>
              </a:r>
              <a:endPara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-71402" y="2315083"/>
              <a:ext cx="1485574" cy="61366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Срок регистрации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-83047" y="4849380"/>
              <a:ext cx="1368151" cy="42793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6E482C"/>
                  </a:solidFill>
                  <a:effectLst/>
                  <a:uLnTx/>
                  <a:uFillTx/>
                  <a:latin typeface="Cambria"/>
                </a:rPr>
                <a:t>Заработная плата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091854" y="3676161"/>
              <a:ext cx="2656369" cy="80312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mbria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>
            <a:xfrm>
              <a:off x="1613478" y="2385675"/>
              <a:ext cx="0" cy="3113664"/>
            </a:xfrm>
            <a:prstGeom prst="line">
              <a:avLst/>
            </a:prstGeom>
            <a:grpFill/>
            <a:ln>
              <a:solidFill>
                <a:srgbClr val="6E482C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3" name="Прямоугольник 42"/>
            <p:cNvSpPr/>
            <p:nvPr/>
          </p:nvSpPr>
          <p:spPr>
            <a:xfrm>
              <a:off x="1824477" y="2390039"/>
              <a:ext cx="3948112" cy="5760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24 месяца</a:t>
              </a: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и более;</a:t>
              </a:r>
              <a:endParaRPr lang="ru-RU" sz="1600" kern="0" dirty="0">
                <a:solidFill>
                  <a:srgbClr val="C00000"/>
                </a:solidFill>
                <a:latin typeface="Cambria"/>
              </a:endParaRPr>
            </a:p>
            <a:p>
              <a:pPr marL="0" marR="0" lvl="0" indent="0" algn="ctr" defTabSz="9143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12</a:t>
              </a:r>
              <a:r>
                <a:rPr kumimoji="0" lang="ru-RU" sz="1600" b="1" i="0" u="none" strike="noStrike" kern="0" cap="none" spc="0" normalizeH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mbria"/>
                </a:rPr>
                <a:t> месяцев и более для субъектом монопрофильных муниципальных образований</a:t>
              </a:r>
              <a:endPara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mbria"/>
              </a:endParaRPr>
            </a:p>
          </p:txBody>
        </p:sp>
      </p:grpSp>
      <p:sp>
        <p:nvSpPr>
          <p:cNvPr id="44" name="Прямоугольник 43"/>
          <p:cNvSpPr/>
          <p:nvPr/>
        </p:nvSpPr>
        <p:spPr>
          <a:xfrm>
            <a:off x="2581300" y="3808610"/>
            <a:ext cx="3907479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3">
              <a:defRPr/>
            </a:pPr>
            <a:r>
              <a:rPr lang="ru-RU" sz="1600" b="1" kern="0" dirty="0">
                <a:solidFill>
                  <a:srgbClr val="C00000"/>
                </a:solidFill>
                <a:latin typeface="Cambria"/>
              </a:rPr>
              <a:t>Не ниже минимального размера оплаты труда, увеличенного на районный коэффециент</a:t>
            </a:r>
          </a:p>
        </p:txBody>
      </p:sp>
    </p:spTree>
    <p:extLst>
      <p:ext uri="{BB962C8B-B14F-4D97-AF65-F5344CB8AC3E}">
        <p14:creationId xmlns:p14="http://schemas.microsoft.com/office/powerpoint/2010/main" xmlns="" val="8409268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53"/>
          <p:cNvSpPr/>
          <p:nvPr/>
        </p:nvSpPr>
        <p:spPr>
          <a:xfrm>
            <a:off x="0" y="15660"/>
            <a:ext cx="9144000" cy="5143500"/>
          </a:xfrm>
          <a:prstGeom prst="rect">
            <a:avLst/>
          </a:prstGeom>
          <a:gradFill>
            <a:gsLst>
              <a:gs pos="0">
                <a:srgbClr val="9DA0A0"/>
              </a:gs>
              <a:gs pos="0">
                <a:schemeClr val="bg1">
                  <a:lumMod val="85000"/>
                </a:schemeClr>
              </a:gs>
              <a:gs pos="100000">
                <a:srgbClr val="E1E3E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44565" y="2048931"/>
            <a:ext cx="7655827" cy="2575645"/>
            <a:chOff x="60176" y="1481943"/>
            <a:chExt cx="7347445" cy="2575645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60176" y="1481943"/>
              <a:ext cx="502945" cy="2575645"/>
              <a:chOff x="110754" y="1481943"/>
              <a:chExt cx="502945" cy="2575645"/>
            </a:xfrm>
          </p:grpSpPr>
          <p:pic>
            <p:nvPicPr>
              <p:cNvPr id="16" name="Picture 3" descr="C:\Users\1\Desktop\map_location_pin_map-marker_-128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900" y="1481943"/>
                <a:ext cx="293657" cy="43204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4" descr="C:\Users\1\Desktop\language-128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6978" y="3671827"/>
                <a:ext cx="385761" cy="38576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5" descr="C:\Users\1\Desktop\519948-008_Mail-128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754" y="2898563"/>
                <a:ext cx="502945" cy="5029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6" descr="C:\Users\1\Desktop\phone-outline-128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8331" y="2087723"/>
                <a:ext cx="483054" cy="4830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" name="Группа 10"/>
            <p:cNvGrpSpPr/>
            <p:nvPr/>
          </p:nvGrpSpPr>
          <p:grpSpPr>
            <a:xfrm>
              <a:off x="611560" y="1503776"/>
              <a:ext cx="6796061" cy="2527663"/>
              <a:chOff x="611560" y="1503776"/>
              <a:chExt cx="6796061" cy="2527663"/>
            </a:xfrm>
          </p:grpSpPr>
          <p:sp>
            <p:nvSpPr>
              <p:cNvPr id="12" name="Прямоугольник 11"/>
              <p:cNvSpPr/>
              <p:nvPr/>
            </p:nvSpPr>
            <p:spPr>
              <a:xfrm>
                <a:off x="635089" y="1503776"/>
                <a:ext cx="6772532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dirty="0">
                    <a:solidFill>
                      <a:srgbClr val="6E482C"/>
                    </a:solidFill>
                    <a:latin typeface="Arial" pitchFamily="34" charset="0"/>
                    <a:cs typeface="Arial" pitchFamily="34" charset="0"/>
                  </a:rPr>
                  <a:t>Алтайский край, г. Барнаул, ул. Молодежная, 26, кабинет 503</a:t>
                </a:r>
              </a:p>
            </p:txBody>
          </p:sp>
          <p:sp>
            <p:nvSpPr>
              <p:cNvPr id="13" name="Прямоугольник 12"/>
              <p:cNvSpPr/>
              <p:nvPr/>
            </p:nvSpPr>
            <p:spPr>
              <a:xfrm>
                <a:off x="611560" y="2184449"/>
                <a:ext cx="308794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dirty="0">
                    <a:solidFill>
                      <a:srgbClr val="6E482C"/>
                    </a:solidFill>
                    <a:latin typeface="Arial" pitchFamily="34" charset="0"/>
                    <a:cs typeface="Arial" pitchFamily="34" charset="0"/>
                  </a:rPr>
                  <a:t>+7 (3852) 38-05-18, 24-24-82</a:t>
                </a:r>
              </a:p>
            </p:txBody>
          </p:sp>
          <p:sp>
            <p:nvSpPr>
              <p:cNvPr id="14" name="Прямоугольник 13"/>
              <p:cNvSpPr/>
              <p:nvPr/>
            </p:nvSpPr>
            <p:spPr>
              <a:xfrm>
                <a:off x="666458" y="2759682"/>
                <a:ext cx="2286000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endParaRPr lang="ru-RU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  <a:p>
                <a:endParaRPr lang="ru-RU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" name="Прямоугольник 14"/>
              <p:cNvSpPr/>
              <p:nvPr/>
            </p:nvSpPr>
            <p:spPr>
              <a:xfrm>
                <a:off x="635089" y="2954221"/>
                <a:ext cx="4284663" cy="107721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dirty="0">
                    <a:solidFill>
                      <a:srgbClr val="6E482C"/>
                    </a:solidFill>
                    <a:latin typeface="Arial" pitchFamily="34" charset="0"/>
                    <a:cs typeface="Arial" pitchFamily="34" charset="0"/>
                  </a:rPr>
                  <a:t>altsmb@yandex.ru artemenko@altsmb.ru</a:t>
                </a:r>
              </a:p>
              <a:p>
                <a:endParaRPr lang="en-US" sz="1400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  <a:p>
                <a:endParaRPr lang="en-US" sz="1400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  <a:p>
                <a:r>
                  <a:rPr lang="en-US" dirty="0">
                    <a:solidFill>
                      <a:srgbClr val="6E482C"/>
                    </a:solidFill>
                    <a:latin typeface="Arial" pitchFamily="34" charset="0"/>
                    <a:cs typeface="Arial" pitchFamily="34" charset="0"/>
                  </a:rPr>
                  <a:t>http://altsmb.ru</a:t>
                </a:r>
                <a:endParaRPr lang="ru-RU" dirty="0">
                  <a:solidFill>
                    <a:srgbClr val="6E482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32" name="Прямоугольник 31"/>
          <p:cNvSpPr/>
          <p:nvPr/>
        </p:nvSpPr>
        <p:spPr>
          <a:xfrm>
            <a:off x="245006" y="1059582"/>
            <a:ext cx="84314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6E482C"/>
                </a:solidFill>
                <a:latin typeface="Arial" pitchFamily="34" charset="0"/>
                <a:cs typeface="Arial" pitchFamily="34" charset="0"/>
              </a:rPr>
              <a:t>Управление Алтайского края по развитию предпринимательства и рыночной инфраструктуры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-6966" y="-20538"/>
            <a:ext cx="9150966" cy="864096"/>
          </a:xfrm>
          <a:prstGeom prst="roundRect">
            <a:avLst>
              <a:gd name="adj" fmla="val 4144"/>
            </a:avLst>
          </a:prstGeom>
          <a:solidFill>
            <a:srgbClr val="DCBEA8">
              <a:alpha val="3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72000" rtlCol="0" anchor="ctr"/>
          <a:lstStyle/>
          <a:p>
            <a:pPr defTabSz="914373"/>
            <a:endParaRPr lang="ru-RU" sz="1600" b="1" dirty="0">
              <a:solidFill>
                <a:srgbClr val="6E482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259632" y="104314"/>
            <a:ext cx="68407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E482C"/>
                </a:solidFill>
                <a:latin typeface="Cambria" panose="02040503050406030204" pitchFamily="18" charset="0"/>
              </a:rPr>
              <a:t>Контактная информация</a:t>
            </a:r>
          </a:p>
        </p:txBody>
      </p:sp>
      <p:pic>
        <p:nvPicPr>
          <p:cNvPr id="47" name="Picture 73" descr="E:\картинки\200px-Coat_of_Arms_of_Altai_Krai.svg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4519" y="104314"/>
            <a:ext cx="685909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56496" y="51470"/>
            <a:ext cx="1380000" cy="622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82395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GDWmO2EeUhg9ExPoF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GDWmO2EeUhg9ExPoFF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86</TotalTime>
  <Words>347</Words>
  <Application>Microsoft Office PowerPoint</Application>
  <PresentationFormat>Экран (16:9)</PresentationFormat>
  <Paragraphs>76</Paragraphs>
  <Slides>8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9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иколай Я. Коваль</dc:creator>
  <cp:lastModifiedBy>Гутникова</cp:lastModifiedBy>
  <cp:revision>273</cp:revision>
  <cp:lastPrinted>2019-08-16T02:32:29Z</cp:lastPrinted>
  <dcterms:created xsi:type="dcterms:W3CDTF">2019-04-16T00:28:40Z</dcterms:created>
  <dcterms:modified xsi:type="dcterms:W3CDTF">2020-08-19T02:35:09Z</dcterms:modified>
</cp:coreProperties>
</file>